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53.xml" ContentType="application/vnd.openxmlformats-officedocument.drawingml.chart+xml"/>
  <Override PartName="/ppt/charts/chart54.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531F5D26-E2D4-4716-9C19-984701839CE1}">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Lst>
        </p14:section>
        <p14:section name="Brackets By Sector" id="{8116CD6E-40EA-492E-8973-2FA1C02F6360}">
          <p14:sldIdLst>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Lst>
        </p14:section>
        <p14:section name="Brackets By Segment" id="{6C946D19-81C0-49CE-A1B5-F2247AFA6974}">
          <p14:sldIdLst>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9.5232174562282737E-2</c:v>
                </c:pt>
                <c:pt idx="2">
                  <c:v>1.0340432622765534E-2</c:v>
                </c:pt>
                <c:pt idx="3">
                  <c:v>2.2813468214128472E-2</c:v>
                </c:pt>
                <c:pt idx="4">
                  <c:v>1.4473962389167008E-2</c:v>
                </c:pt>
                <c:pt idx="5">
                  <c:v>1.9754864490616E-2</c:v>
                </c:pt>
                <c:pt idx="6">
                  <c:v>1.10450143396596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317112325384537E-3</c:v>
                </c:pt>
                <c:pt idx="1">
                  <c:v>5.6571589283753885E-3</c:v>
                </c:pt>
                <c:pt idx="2">
                  <c:v>3.6280559236526018E-2</c:v>
                </c:pt>
                <c:pt idx="3">
                  <c:v>1.3032383738995429E-2</c:v>
                </c:pt>
                <c:pt idx="4">
                  <c:v>1.6872883359759557E-2</c:v>
                </c:pt>
                <c:pt idx="5">
                  <c:v>7.292899091361302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402078134440649E-3</c:v>
                </c:pt>
                <c:pt idx="1">
                  <c:v>5.7265694119279864E-3</c:v>
                </c:pt>
                <c:pt idx="2">
                  <c:v>3.805666643155646E-2</c:v>
                </c:pt>
                <c:pt idx="3">
                  <c:v>1.3975922051485914E-2</c:v>
                </c:pt>
                <c:pt idx="4">
                  <c:v>1.7366296151855289E-2</c:v>
                </c:pt>
                <c:pt idx="5">
                  <c:v>7.90486869485066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1545340410906379E-3</c:v>
                </c:pt>
                <c:pt idx="2">
                  <c:v>2.1018590380633254E-2</c:v>
                </c:pt>
                <c:pt idx="3">
                  <c:v>9.0027585051827754E-3</c:v>
                </c:pt>
                <c:pt idx="4">
                  <c:v>8.3857623325928853E-3</c:v>
                </c:pt>
                <c:pt idx="5">
                  <c:v>5.79676635532077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7049379829794867E-2</c:v>
                </c:pt>
                <c:pt idx="3">
                  <c:v>1.5563015695094539E-2</c:v>
                </c:pt>
                <c:pt idx="4">
                  <c:v>8.4153764258805778E-3</c:v>
                </c:pt>
                <c:pt idx="5">
                  <c:v>1.147508524500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7298900049351639E-3</c:v>
                </c:pt>
                <c:pt idx="1">
                  <c:v>0.13072108808769728</c:v>
                </c:pt>
                <c:pt idx="2">
                  <c:v>7.1099060052406002E-2</c:v>
                </c:pt>
                <c:pt idx="3">
                  <c:v>0.2764396051594939</c:v>
                </c:pt>
                <c:pt idx="4">
                  <c:v>0.16442298151294682</c:v>
                </c:pt>
                <c:pt idx="5">
                  <c:v>6.2960865114717671E-2</c:v>
                </c:pt>
                <c:pt idx="6">
                  <c:v>0.18383903075172309</c:v>
                </c:pt>
                <c:pt idx="7">
                  <c:v>0.10378747931608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7301451869942767E-2</c:v>
                </c:pt>
                <c:pt idx="2">
                  <c:v>7.8708074862622428E-3</c:v>
                </c:pt>
                <c:pt idx="3">
                  <c:v>1.2287473677491291E-2</c:v>
                </c:pt>
                <c:pt idx="4">
                  <c:v>7.1739953034813345E-3</c:v>
                </c:pt>
                <c:pt idx="5">
                  <c:v>9.1523117157312137E-3</c:v>
                </c:pt>
                <c:pt idx="6">
                  <c:v>5.226649522516954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2.5082096443099704E-3</c:v>
                </c:pt>
                <c:pt idx="1">
                  <c:v>8.9970293947620947E-3</c:v>
                </c:pt>
                <c:pt idx="2">
                  <c:v>5.9580533412977407E-2</c:v>
                </c:pt>
                <c:pt idx="3">
                  <c:v>2.0279902063345786E-2</c:v>
                </c:pt>
                <c:pt idx="4">
                  <c:v>2.8778085772375995E-2</c:v>
                </c:pt>
                <c:pt idx="5">
                  <c:v>1.058159292554990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165209731029912E-2</c:v>
                </c:pt>
                <c:pt idx="1">
                  <c:v>0.10259212167398467</c:v>
                </c:pt>
                <c:pt idx="2">
                  <c:v>4.4696005610716065E-2</c:v>
                </c:pt>
                <c:pt idx="3">
                  <c:v>0.18031366781779939</c:v>
                </c:pt>
                <c:pt idx="4">
                  <c:v>0.12735227071905772</c:v>
                </c:pt>
                <c:pt idx="5">
                  <c:v>5.3460365364629087E-2</c:v>
                </c:pt>
                <c:pt idx="6">
                  <c:v>0.37077158934650162</c:v>
                </c:pt>
                <c:pt idx="7">
                  <c:v>0.108648769736281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0136401797186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26493157224339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7298900049351639E-3</c:v>
                </c:pt>
                <c:pt idx="1">
                  <c:v>0.13072108808769728</c:v>
                </c:pt>
                <c:pt idx="2">
                  <c:v>7.1099060052406002E-2</c:v>
                </c:pt>
                <c:pt idx="3">
                  <c:v>0.2764396051594939</c:v>
                </c:pt>
                <c:pt idx="4">
                  <c:v>0.16442298151294682</c:v>
                </c:pt>
                <c:pt idx="5">
                  <c:v>6.2960865114717671E-2</c:v>
                </c:pt>
                <c:pt idx="6">
                  <c:v>0.18383903075172309</c:v>
                </c:pt>
                <c:pt idx="7">
                  <c:v>0.10378747931608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3093229211411418E-2</c:v>
                </c:pt>
                <c:pt idx="1">
                  <c:v>0.10788394773254026</c:v>
                </c:pt>
                <c:pt idx="2">
                  <c:v>4.6935106349944168E-2</c:v>
                </c:pt>
                <c:pt idx="3">
                  <c:v>0.1872191590499942</c:v>
                </c:pt>
                <c:pt idx="4">
                  <c:v>0.11397427204804375</c:v>
                </c:pt>
                <c:pt idx="5">
                  <c:v>5.2179556095082326E-2</c:v>
                </c:pt>
                <c:pt idx="6">
                  <c:v>0.36270526334207531</c:v>
                </c:pt>
                <c:pt idx="7">
                  <c:v>0.116009466170908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7.096876989533177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0444222196966468E-2</c:v>
                </c:pt>
                <c:pt idx="2">
                  <c:v>8.1915846630039261E-3</c:v>
                </c:pt>
                <c:pt idx="3">
                  <c:v>1.2646149311276739E-2</c:v>
                </c:pt>
                <c:pt idx="4">
                  <c:v>7.4662897002359232E-3</c:v>
                </c:pt>
                <c:pt idx="5">
                  <c:v>9.5253169909785568E-3</c:v>
                </c:pt>
                <c:pt idx="6">
                  <c:v>5.4396632292525826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853260720827856E-2</c:v>
                </c:pt>
                <c:pt idx="2">
                  <c:v>8.6781617607599153E-3</c:v>
                </c:pt>
                <c:pt idx="3">
                  <c:v>1.2968841320668506E-2</c:v>
                </c:pt>
                <c:pt idx="4">
                  <c:v>8.1870796575066757E-3</c:v>
                </c:pt>
                <c:pt idx="5">
                  <c:v>1.0339617319266994E-2</c:v>
                </c:pt>
                <c:pt idx="6">
                  <c:v>5.9793732506390927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8808003131640968E-2</c:v>
                </c:pt>
                <c:pt idx="2">
                  <c:v>6.9915828971751394E-3</c:v>
                </c:pt>
                <c:pt idx="3">
                  <c:v>4.5216772688848779E-3</c:v>
                </c:pt>
                <c:pt idx="4">
                  <c:v>2.7321099495320172E-3</c:v>
                </c:pt>
                <c:pt idx="5">
                  <c:v>2.239691385443508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2622065365639349E-2</c:v>
                </c:pt>
                <c:pt idx="2">
                  <c:v>1.9318403693915609E-3</c:v>
                </c:pt>
                <c:pt idx="3">
                  <c:v>4.7930961542006134E-3</c:v>
                </c:pt>
                <c:pt idx="4">
                  <c:v>2.187812609489373E-3</c:v>
                </c:pt>
                <c:pt idx="5">
                  <c:v>7.686348469021893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398190236829364E-3</c:v>
                </c:pt>
                <c:pt idx="1">
                  <c:v>0.12114250160819365</c:v>
                </c:pt>
                <c:pt idx="2">
                  <c:v>6.8898138443432733E-2</c:v>
                </c:pt>
                <c:pt idx="3">
                  <c:v>0.28058797162019983</c:v>
                </c:pt>
                <c:pt idx="4">
                  <c:v>0.16666104669686721</c:v>
                </c:pt>
                <c:pt idx="5">
                  <c:v>6.5433887771111462E-2</c:v>
                </c:pt>
                <c:pt idx="6">
                  <c:v>0.18624437384912707</c:v>
                </c:pt>
                <c:pt idx="7">
                  <c:v>0.10663388977423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931649153439911E-2</c:v>
                </c:pt>
                <c:pt idx="2">
                  <c:v>8.3183192111688526E-3</c:v>
                </c:pt>
                <c:pt idx="3">
                  <c:v>1.2539000070998637E-2</c:v>
                </c:pt>
                <c:pt idx="4">
                  <c:v>7.8476884751148834E-3</c:v>
                </c:pt>
                <c:pt idx="5">
                  <c:v>9.9108820224919816E-3</c:v>
                </c:pt>
                <c:pt idx="6">
                  <c:v>5.7314367665330199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8.5645589527846885E-2</c:v>
                </c:pt>
                <c:pt idx="2">
                  <c:v>1.0844622730027793E-2</c:v>
                </c:pt>
                <c:pt idx="3">
                  <c:v>2.3738941310914453E-2</c:v>
                </c:pt>
                <c:pt idx="4">
                  <c:v>1.5179583520854254E-2</c:v>
                </c:pt>
                <c:pt idx="5">
                  <c:v>2.0718093748988291E-2</c:v>
                </c:pt>
                <c:pt idx="6">
                  <c:v>1.15835592117925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8877181781843355E-3</c:v>
                </c:pt>
                <c:pt idx="2">
                  <c:v>3.1979161180068515E-2</c:v>
                </c:pt>
                <c:pt idx="3">
                  <c:v>1.3563522541374452E-2</c:v>
                </c:pt>
                <c:pt idx="4">
                  <c:v>1.7560309271623414E-2</c:v>
                </c:pt>
                <c:pt idx="5">
                  <c:v>7.590123433955383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9742953389195297E-3</c:v>
                </c:pt>
                <c:pt idx="2">
                  <c:v>3.335695792893343E-2</c:v>
                </c:pt>
                <c:pt idx="3">
                  <c:v>1.458050710000631E-2</c:v>
                </c:pt>
                <c:pt idx="4">
                  <c:v>1.8117288700616657E-2</c:v>
                </c:pt>
                <c:pt idx="5">
                  <c:v>8.24682576972684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2776276506118799E-3</c:v>
                </c:pt>
                <c:pt idx="2">
                  <c:v>1.4288487828934361E-2</c:v>
                </c:pt>
                <c:pt idx="3">
                  <c:v>9.3540566765183669E-3</c:v>
                </c:pt>
                <c:pt idx="4">
                  <c:v>8.712526306472854E-3</c:v>
                </c:pt>
                <c:pt idx="5">
                  <c:v>6.022962961517810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2">
                  <c:v>4.7836926852182174E-2</c:v>
                </c:pt>
                <c:pt idx="3">
                  <c:v>1.582352086464997E-2</c:v>
                </c:pt>
                <c:pt idx="4">
                  <c:v>8.5562391677582849E-3</c:v>
                </c:pt>
                <c:pt idx="5">
                  <c:v>1.166716363687720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398190236829364E-3</c:v>
                </c:pt>
                <c:pt idx="1">
                  <c:v>0.12114250160819365</c:v>
                </c:pt>
                <c:pt idx="2">
                  <c:v>6.8898138443432733E-2</c:v>
                </c:pt>
                <c:pt idx="3">
                  <c:v>0.28058797162019983</c:v>
                </c:pt>
                <c:pt idx="4">
                  <c:v>0.16666104669686721</c:v>
                </c:pt>
                <c:pt idx="5">
                  <c:v>6.5433887771111462E-2</c:v>
                </c:pt>
                <c:pt idx="6">
                  <c:v>0.18624437384912707</c:v>
                </c:pt>
                <c:pt idx="7">
                  <c:v>0.10663388977423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6E-2</c:v>
                </c:pt>
                <c:pt idx="1">
                  <c:v>8.977206552907227E-2</c:v>
                </c:pt>
                <c:pt idx="2">
                  <c:v>2.7820754268219949E-2</c:v>
                </c:pt>
                <c:pt idx="3">
                  <c:v>0.11681726774748076</c:v>
                </c:pt>
                <c:pt idx="4">
                  <c:v>7.3723299572251405E-2</c:v>
                </c:pt>
                <c:pt idx="5">
                  <c:v>4.3499322041014504E-2</c:v>
                </c:pt>
                <c:pt idx="6">
                  <c:v>0.50440186766215767</c:v>
                </c:pt>
                <c:pt idx="7">
                  <c:v>0.1258227817616207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9.0986209265394539E-4</c:v>
                </c:pt>
                <c:pt idx="1">
                  <c:v>9.4357163802176007E-3</c:v>
                </c:pt>
                <c:pt idx="2">
                  <c:v>5.766459814853258E-2</c:v>
                </c:pt>
                <c:pt idx="3">
                  <c:v>2.1268731677116025E-2</c:v>
                </c:pt>
                <c:pt idx="4">
                  <c:v>3.0181279108835855E-2</c:v>
                </c:pt>
                <c:pt idx="5">
                  <c:v>1.109754179024176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597598313584757E-2</c:v>
                </c:pt>
                <c:pt idx="1">
                  <c:v>9.58160655331802E-2</c:v>
                </c:pt>
                <c:pt idx="2">
                  <c:v>4.0332572808938108E-2</c:v>
                </c:pt>
                <c:pt idx="3">
                  <c:v>0.18244703884368935</c:v>
                </c:pt>
                <c:pt idx="4">
                  <c:v>0.12933676829071597</c:v>
                </c:pt>
                <c:pt idx="5">
                  <c:v>5.5289665269220786E-2</c:v>
                </c:pt>
                <c:pt idx="6">
                  <c:v>0.37506082381542843</c:v>
                </c:pt>
                <c:pt idx="7">
                  <c:v>0.111119467125242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13646201092882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463130398387748E-2</c:v>
                </c:pt>
                <c:pt idx="1">
                  <c:v>0.10089685436631027</c:v>
                </c:pt>
                <c:pt idx="2">
                  <c:v>4.220597803109722E-2</c:v>
                </c:pt>
                <c:pt idx="3">
                  <c:v>0.19017620271128785</c:v>
                </c:pt>
                <c:pt idx="4">
                  <c:v>0.11554308137836729</c:v>
                </c:pt>
                <c:pt idx="5">
                  <c:v>5.4052993407344888E-2</c:v>
                </c:pt>
                <c:pt idx="6">
                  <c:v>0.36677238123060296</c:v>
                </c:pt>
                <c:pt idx="7">
                  <c:v>0.1188893784766017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3.406169395819451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32E-2</c:v>
                </c:pt>
                <c:pt idx="2">
                  <c:v>2.1280657310724264E-2</c:v>
                </c:pt>
                <c:pt idx="3">
                  <c:v>0.11950391907115621</c:v>
                </c:pt>
                <c:pt idx="4">
                  <c:v>7.5123308023636634E-2</c:v>
                </c:pt>
                <c:pt idx="5">
                  <c:v>4.4978898898985584E-2</c:v>
                </c:pt>
                <c:pt idx="6">
                  <c:v>0.50847659248921651</c:v>
                </c:pt>
                <c:pt idx="7">
                  <c:v>0.128649223013413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3</c:v>
                </c:pt>
                <c:pt idx="6">
                  <c:v>0.17796653514044841</c:v>
                </c:pt>
                <c:pt idx="7">
                  <c:v>1.489478367991852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4.398190236829364E-3</c:v>
                </c:pt>
                <c:pt idx="1">
                  <c:v>0.12114250160819365</c:v>
                </c:pt>
                <c:pt idx="2">
                  <c:v>6.8898138443432733E-2</c:v>
                </c:pt>
                <c:pt idx="3">
                  <c:v>0.28058797162019983</c:v>
                </c:pt>
                <c:pt idx="4">
                  <c:v>0.16666104669686721</c:v>
                </c:pt>
                <c:pt idx="5">
                  <c:v>6.5433887771111462E-2</c:v>
                </c:pt>
                <c:pt idx="6">
                  <c:v>0.18624437384912707</c:v>
                </c:pt>
                <c:pt idx="7">
                  <c:v>0.1066338897742386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5.8785648519070141E-4</c:v>
                </c:pt>
                <c:pt idx="1">
                  <c:v>3.3680168452992737E-2</c:v>
                </c:pt>
                <c:pt idx="2">
                  <c:v>6.7290090886708061E-3</c:v>
                </c:pt>
                <c:pt idx="3">
                  <c:v>4.4016255040906947E-3</c:v>
                </c:pt>
                <c:pt idx="4">
                  <c:v>2.6295747505043032E-3</c:v>
                </c:pt>
                <c:pt idx="5">
                  <c:v>2.155578201691105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5.0720174265126176E-4</c:v>
                </c:pt>
                <c:pt idx="6">
                  <c:v>7.442914268737731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3684602684908817</c:v>
                </c:pt>
                <c:pt idx="2">
                  <c:v>3.8992651596410334E-2</c:v>
                </c:pt>
                <c:pt idx="3">
                  <c:v>5.9564943445955226E-2</c:v>
                </c:pt>
                <c:pt idx="4">
                  <c:v>1.4607267818043361E-2</c:v>
                </c:pt>
                <c:pt idx="5">
                  <c:v>4.5336279898848905E-2</c:v>
                </c:pt>
                <c:pt idx="6">
                  <c:v>2.589326752099621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4268526995737027</c:v>
                </c:pt>
                <c:pt idx="2">
                  <c:v>4.0238050025519584E-2</c:v>
                </c:pt>
                <c:pt idx="3">
                  <c:v>5.9456095726477545E-2</c:v>
                </c:pt>
                <c:pt idx="4">
                  <c:v>1.5627428410488791E-2</c:v>
                </c:pt>
                <c:pt idx="5">
                  <c:v>4.7936313289484257E-2</c:v>
                </c:pt>
                <c:pt idx="6">
                  <c:v>2.772457193277774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1683274150275851</c:v>
                </c:pt>
                <c:pt idx="2">
                  <c:v>5.0645424368439759E-2</c:v>
                </c:pt>
                <c:pt idx="3">
                  <c:v>3.0875103045724266E-2</c:v>
                </c:pt>
                <c:pt idx="4">
                  <c:v>1.4460144552626257E-2</c:v>
                </c:pt>
                <c:pt idx="5">
                  <c:v>1.6208727819245348E-2</c:v>
                </c:pt>
                <c:pt idx="6">
                  <c:v>1.16342827480579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2487175043650502E-2</c:v>
                </c:pt>
                <c:pt idx="2">
                  <c:v>9.0230299506753944E-3</c:v>
                </c:pt>
                <c:pt idx="3">
                  <c:v>2.2387072369463093E-2</c:v>
                </c:pt>
                <c:pt idx="5">
                  <c:v>3.590056070168769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955635983955524</c:v>
                </c:pt>
                <c:pt idx="2">
                  <c:v>6.7134130970542494E-2</c:v>
                </c:pt>
                <c:pt idx="3">
                  <c:v>0.41475581205112011</c:v>
                </c:pt>
                <c:pt idx="4">
                  <c:v>0.16046104812317322</c:v>
                </c:pt>
                <c:pt idx="5">
                  <c:v>9.4559826045698264E-2</c:v>
                </c:pt>
                <c:pt idx="6">
                  <c:v>3.341952460971831E-2</c:v>
                </c:pt>
                <c:pt idx="7">
                  <c:v>4.01132983601923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702576509496746</c:v>
                </c:pt>
                <c:pt idx="2">
                  <c:v>3.4520681209163254E-2</c:v>
                </c:pt>
                <c:pt idx="3">
                  <c:v>7.5562036599509136E-2</c:v>
                </c:pt>
                <c:pt idx="4">
                  <c:v>1.6345943450085051E-2</c:v>
                </c:pt>
                <c:pt idx="5">
                  <c:v>6.5949985294559879E-2</c:v>
                </c:pt>
                <c:pt idx="6">
                  <c:v>3.687286914191535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7999686719448667E-2</c:v>
                </c:pt>
                <c:pt idx="2">
                  <c:v>2.9947161467412886E-2</c:v>
                </c:pt>
                <c:pt idx="3">
                  <c:v>8.559274109821673E-3</c:v>
                </c:pt>
                <c:pt idx="4">
                  <c:v>3.939748857059025E-2</c:v>
                </c:pt>
                <c:pt idx="5">
                  <c:v>1.926922526180005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7672797842506237E-2</c:v>
                </c:pt>
                <c:pt idx="2">
                  <c:v>3.1607958218261151E-2</c:v>
                </c:pt>
                <c:pt idx="3">
                  <c:v>8.6694999993999974E-3</c:v>
                </c:pt>
                <c:pt idx="4">
                  <c:v>4.0580169747638443E-2</c:v>
                </c:pt>
                <c:pt idx="5">
                  <c:v>2.037723578522528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3663694195172655E-2</c:v>
                </c:pt>
                <c:pt idx="2">
                  <c:v>3.1080831061917391E-2</c:v>
                </c:pt>
                <c:pt idx="3">
                  <c:v>1.4218955665862031E-3</c:v>
                </c:pt>
                <c:pt idx="4">
                  <c:v>4.372561120404974E-2</c:v>
                </c:pt>
                <c:pt idx="5">
                  <c:v>2.771095986877438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3243293102195291E-3</c:v>
                </c:pt>
                <c:pt idx="3">
                  <c:v>2.8177449319760215E-2</c:v>
                </c:pt>
                <c:pt idx="4">
                  <c:v>3.6226658393102382E-3</c:v>
                </c:pt>
                <c:pt idx="5">
                  <c:v>3.377291302136033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955635983955524</c:v>
                </c:pt>
                <c:pt idx="2">
                  <c:v>6.7134130970542494E-2</c:v>
                </c:pt>
                <c:pt idx="3">
                  <c:v>0.41475581205112011</c:v>
                </c:pt>
                <c:pt idx="4">
                  <c:v>0.16046104812317322</c:v>
                </c:pt>
                <c:pt idx="5">
                  <c:v>9.4559826045698264E-2</c:v>
                </c:pt>
                <c:pt idx="6">
                  <c:v>3.341952460971831E-2</c:v>
                </c:pt>
                <c:pt idx="7">
                  <c:v>4.01132983601923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2.9782484273553414E-2</c:v>
                </c:pt>
                <c:pt idx="2">
                  <c:v>1.9000361706113351E-3</c:v>
                </c:pt>
                <c:pt idx="3">
                  <c:v>1.0826972869844109E-2</c:v>
                </c:pt>
                <c:pt idx="4">
                  <c:v>2.1517942985416626E-3</c:v>
                </c:pt>
                <c:pt idx="5">
                  <c:v>7.559806877658498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0035840365350994E-2</c:v>
                </c:pt>
                <c:pt idx="2">
                  <c:v>3.2031025162699532E-2</c:v>
                </c:pt>
                <c:pt idx="3">
                  <c:v>1.268764187799383E-2</c:v>
                </c:pt>
                <c:pt idx="4">
                  <c:v>3.8976536710875205E-2</c:v>
                </c:pt>
                <c:pt idx="5">
                  <c:v>1.630188857378416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091669450978862</c:v>
                </c:pt>
                <c:pt idx="2">
                  <c:v>6.9287182561152086E-2</c:v>
                </c:pt>
                <c:pt idx="3">
                  <c:v>0.35343216652278708</c:v>
                </c:pt>
                <c:pt idx="4">
                  <c:v>0.20920402268703614</c:v>
                </c:pt>
                <c:pt idx="5">
                  <c:v>8.8022300826377409E-2</c:v>
                </c:pt>
                <c:pt idx="6">
                  <c:v>6.6583611380927582E-2</c:v>
                </c:pt>
                <c:pt idx="7">
                  <c:v>3.255402151193119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9.7300505343577662E-4</c:v>
                </c:pt>
                <c:pt idx="6">
                  <c:v>1.492983048687383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700084256627025</c:v>
                </c:pt>
                <c:pt idx="2">
                  <c:v>7.2217994489897464E-2</c:v>
                </c:pt>
                <c:pt idx="3">
                  <c:v>0.35322921931219359</c:v>
                </c:pt>
                <c:pt idx="4">
                  <c:v>0.19174437618068824</c:v>
                </c:pt>
                <c:pt idx="5">
                  <c:v>9.2364013147783031E-2</c:v>
                </c:pt>
                <c:pt idx="6">
                  <c:v>6.9080242542587961E-2</c:v>
                </c:pt>
                <c:pt idx="7">
                  <c:v>3.436331176057950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0316625435654826E-3</c:v>
                </c:pt>
                <c:pt idx="6">
                  <c:v>1.579339246291892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244664196729879</c:v>
                </c:pt>
                <c:pt idx="2">
                  <c:v>8.172625543035715E-2</c:v>
                </c:pt>
                <c:pt idx="3">
                  <c:v>0.24480043865306636</c:v>
                </c:pt>
                <c:pt idx="4">
                  <c:v>0.24454369992503602</c:v>
                </c:pt>
                <c:pt idx="5">
                  <c:v>8.9047612507386811E-2</c:v>
                </c:pt>
                <c:pt idx="6">
                  <c:v>0.13306357541029681</c:v>
                </c:pt>
                <c:pt idx="7">
                  <c:v>2.43717761065579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6">
                  <c:v>1.843542169365008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4.3811504353870032E-2</c:v>
                </c:pt>
                <c:pt idx="2">
                  <c:v>9.0230299506753944E-3</c:v>
                </c:pt>
                <c:pt idx="3">
                  <c:v>0.26842274932031923</c:v>
                </c:pt>
                <c:pt idx="4">
                  <c:v>0.60246958440246801</c:v>
                </c:pt>
                <c:pt idx="5">
                  <c:v>7.0632573618883102E-2</c:v>
                </c:pt>
                <c:pt idx="6">
                  <c:v>4.0273996597403518E-3</c:v>
                </c:pt>
                <c:pt idx="7">
                  <c:v>1.6131586940439655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9.590998958350803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8955635983955524</c:v>
                </c:pt>
                <c:pt idx="2">
                  <c:v>6.7134130970542494E-2</c:v>
                </c:pt>
                <c:pt idx="3">
                  <c:v>0.41475581205112011</c:v>
                </c:pt>
                <c:pt idx="4">
                  <c:v>0.16046104812317322</c:v>
                </c:pt>
                <c:pt idx="5">
                  <c:v>9.4559826045698264E-2</c:v>
                </c:pt>
                <c:pt idx="6">
                  <c:v>3.341952460971831E-2</c:v>
                </c:pt>
                <c:pt idx="7">
                  <c:v>4.011329836019235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6.7298900049351639E-3</c:v>
                </c:pt>
                <c:pt idx="1">
                  <c:v>0.13072108808769728</c:v>
                </c:pt>
                <c:pt idx="2">
                  <c:v>7.1099060052406002E-2</c:v>
                </c:pt>
                <c:pt idx="3">
                  <c:v>0.2764396051594939</c:v>
                </c:pt>
                <c:pt idx="4">
                  <c:v>0.16442298151294682</c:v>
                </c:pt>
                <c:pt idx="5">
                  <c:v>6.2960865114717671E-2</c:v>
                </c:pt>
                <c:pt idx="6">
                  <c:v>0.18383903075172309</c:v>
                </c:pt>
                <c:pt idx="7">
                  <c:v>0.103787479316080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6145282415694878E-3</c:v>
                </c:pt>
                <c:pt idx="6">
                  <c:v>2.369233832605343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7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753814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24614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1528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39484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91663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55258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1558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66566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90811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660979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5678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858604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0362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058367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306264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550476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10224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4677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88390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65284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618229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046432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62526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093770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108374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91055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567970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97614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221568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48303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66093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636669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1536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182131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8539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15415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305256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868009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56079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screen Liquid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gment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1617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Autos Scanning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87871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12354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Modern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6394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onvenience + Farmacias Cad + Hard Discounter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211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un Ca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479">
                <a:tc>
                  <a:txBody>
                    <a:bodyPr/>
                    <a:lstStyle/>
                    <a:p>
                      <a:pPr algn="ctr">
                        <a:defRPr sz="700">
                          <a:latin typeface="Nexa Bold (Headings)"/>
                        </a:defRPr>
                      </a:pPr>
                      <a:r>
                        <a:t>270+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358479">
                <a:tc>
                  <a:txBody>
                    <a:bodyPr/>
                    <a:lstStyle/>
                    <a:p>
                      <a:pPr algn="ctr">
                        <a:defRPr sz="700">
                          <a:latin typeface="Nexa Bold (Headings)"/>
                        </a:defRPr>
                      </a:pPr>
                      <a:r>
                        <a:t>240-26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358479">
                <a:tc>
                  <a:txBody>
                    <a:bodyPr/>
                    <a:lstStyle/>
                    <a:p>
                      <a:pPr algn="ctr">
                        <a:defRPr sz="700">
                          <a:latin typeface="Nexa Bold (Headings)"/>
                        </a:defRPr>
                      </a:pPr>
                      <a:r>
                        <a:t>210-23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358479">
                <a:tc>
                  <a:txBody>
                    <a:bodyPr/>
                    <a:lstStyle/>
                    <a:p>
                      <a:pPr algn="ctr">
                        <a:defRPr sz="700">
                          <a:latin typeface="Nexa Bold (Headings)"/>
                        </a:defRPr>
                      </a:pPr>
                      <a:r>
                        <a:t>180-20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358479">
                <a:tc>
                  <a:txBody>
                    <a:bodyPr/>
                    <a:lstStyle/>
                    <a:p>
                      <a:pPr algn="ctr">
                        <a:defRPr sz="700">
                          <a:latin typeface="Nexa Bold (Headings)"/>
                        </a:defRPr>
                      </a:pPr>
                      <a:r>
                        <a:t>120-17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358479">
                <a:tc>
                  <a:txBody>
                    <a:bodyPr/>
                    <a:lstStyle/>
                    <a:p>
                      <a:pPr algn="ctr">
                        <a:defRPr sz="700">
                          <a:latin typeface="Nexa Bold (Headings)"/>
                        </a:defRPr>
                      </a:pPr>
                      <a:r>
                        <a:t>60-11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358479">
                <a:tc>
                  <a:txBody>
                    <a:bodyPr/>
                    <a:lstStyle/>
                    <a:p>
                      <a:pPr algn="ctr">
                        <a:defRPr sz="700">
                          <a:latin typeface="Nexa Bold (Headings)"/>
                        </a:defRPr>
                      </a:pPr>
                      <a:r>
                        <a:t>50-5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358479">
                <a:tc>
                  <a:txBody>
                    <a:bodyPr/>
                    <a:lstStyle/>
                    <a:p>
                      <a:pPr algn="ctr">
                        <a:defRPr sz="700">
                          <a:latin typeface="Nexa Bold (Headings)"/>
                        </a:defRPr>
                      </a:pPr>
                      <a:r>
                        <a:t>0-49 ML</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Size Bracket | By Sector | Canal Tradic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16790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3504</Words>
  <Application>Microsoft Office PowerPoint</Application>
  <PresentationFormat>On-screen Show (16:9)</PresentationFormat>
  <Paragraphs>999</Paragraphs>
  <Slides>45</Slides>
  <Notes>4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lpstr>Pack 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65</cp:revision>
  <dcterms:created xsi:type="dcterms:W3CDTF">2024-07-05T11:30:58Z</dcterms:created>
  <dcterms:modified xsi:type="dcterms:W3CDTF">2025-07-08T08:1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